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571" r:id="rId2"/>
  </p:sldIdLst>
  <p:sldSz cx="9144000" cy="6858000" type="screen4x3"/>
  <p:notesSz cx="6858000" cy="9144000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lko" initials="f" lastIdx="41" clrIdx="0"/>
  <p:cmAuthor id="1" name="meyerd" initials="m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69" autoAdjust="0"/>
    <p:restoredTop sz="90487" autoAdjust="0"/>
  </p:normalViewPr>
  <p:slideViewPr>
    <p:cSldViewPr>
      <p:cViewPr varScale="1">
        <p:scale>
          <a:sx n="106" d="100"/>
          <a:sy n="106" d="100"/>
        </p:scale>
        <p:origin x="1434" y="114"/>
      </p:cViewPr>
      <p:guideLst>
        <p:guide orient="horz" pos="4201"/>
        <p:guide pos="5647"/>
        <p:guide pos="113"/>
      </p:guideLst>
    </p:cSldViewPr>
  </p:slideViewPr>
  <p:outlineViewPr>
    <p:cViewPr>
      <p:scale>
        <a:sx n="33" d="100"/>
        <a:sy n="33" d="100"/>
      </p:scale>
      <p:origin x="0" y="108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8912"/>
    </p:cViewPr>
  </p:sorterViewPr>
  <p:notesViewPr>
    <p:cSldViewPr>
      <p:cViewPr varScale="1">
        <p:scale>
          <a:sx n="86" d="100"/>
          <a:sy n="86" d="100"/>
        </p:scale>
        <p:origin x="-3126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smtClean="0"/>
              <a:t>© camunda </a:t>
            </a:r>
            <a:r>
              <a:rPr lang="de-DE" dirty="0" err="1" smtClean="0"/>
              <a:t>services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60794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smtClean="0"/>
              <a:t>© camunda </a:t>
            </a:r>
            <a:r>
              <a:rPr lang="de-DE" dirty="0" err="1" smtClean="0"/>
              <a:t>services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511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8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3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5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8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e durch Klicken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4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9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4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7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6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6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89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18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  <p:sldLayoutId id="2147483700" r:id="rId10"/>
    <p:sldLayoutId id="2147483702" r:id="rId11"/>
    <p:sldLayoutId id="2147483703" r:id="rId12"/>
    <p:sldLayoutId id="2147483704" r:id="rId13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feld 24"/>
          <p:cNvSpPr txBox="1"/>
          <p:nvPr/>
        </p:nvSpPr>
        <p:spPr>
          <a:xfrm>
            <a:off x="609600" y="2971800"/>
            <a:ext cx="1108812" cy="2862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b="1" dirty="0" err="1" smtClean="0">
                <a:solidFill>
                  <a:schemeClr val="accent1"/>
                </a:solidFill>
                <a:latin typeface="+mn-lt"/>
              </a:rPr>
              <a:t>reference</a:t>
            </a:r>
            <a:endParaRPr lang="de-DE" sz="1400" b="1" dirty="0" smtClean="0">
              <a:solidFill>
                <a:schemeClr val="accent1"/>
              </a:solidFill>
              <a:latin typeface="+mn-lt"/>
            </a:endParaRPr>
          </a:p>
        </p:txBody>
      </p:sp>
      <p:graphicFrame>
        <p:nvGraphicFramePr>
          <p:cNvPr id="33" name="Tabel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718747"/>
              </p:ext>
            </p:extLst>
          </p:nvPr>
        </p:nvGraphicFramePr>
        <p:xfrm>
          <a:off x="674018" y="228600"/>
          <a:ext cx="6336384" cy="128524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516982"/>
                <a:gridCol w="1066800"/>
                <a:gridCol w="1219200"/>
                <a:gridCol w="533402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ID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KEY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VERSION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…</a:t>
                      </a:r>
                      <a:endParaRPr lang="de-DE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invoice:1:1f57588f-afa8-11e1-a01a-08002700282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invoic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1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invoice:2:8d55cd80-af15-11e1-8950-08002700282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invoic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4" name="Tabel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342580"/>
              </p:ext>
            </p:extLst>
          </p:nvPr>
        </p:nvGraphicFramePr>
        <p:xfrm>
          <a:off x="1786881" y="1905000"/>
          <a:ext cx="7010400" cy="146812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133600"/>
                <a:gridCol w="3124200"/>
                <a:gridCol w="1219200"/>
                <a:gridCol w="5334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ID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PROC_DEF_ID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ACT_ID_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…</a:t>
                      </a:r>
                      <a:endParaRPr lang="de-DE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71712c34-af1d-11e1-8950-08002700282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invoice:1:1f57588f-afa8-11e1-a01a-08002700282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assign-approver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d80-af15-11e1-8950-0800270028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invoice:2:8d55cd80-af15-11e1-8950-08002700282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 smtClean="0"/>
                        <a:t>assign-approver</a:t>
                      </a:r>
                      <a:endParaRPr lang="de-DE" sz="1200" dirty="0" smtClean="0"/>
                    </a:p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37" name="Gewinkelte Verbindung 36"/>
          <p:cNvCxnSpPr/>
          <p:nvPr/>
        </p:nvCxnSpPr>
        <p:spPr>
          <a:xfrm rot="16200000" flipH="1">
            <a:off x="800100" y="2019300"/>
            <a:ext cx="1447800" cy="304800"/>
          </a:xfrm>
          <a:prstGeom prst="bentConnector3">
            <a:avLst>
              <a:gd name="adj1" fmla="val 100026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0474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 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</Words>
  <Application>Microsoft Office PowerPoint</Application>
  <PresentationFormat>Bildschirmpräsentation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Folks-Light</vt:lpstr>
      <vt:lpstr>Verdana</vt:lpstr>
      <vt:lpstr>Wingdings</vt:lpstr>
      <vt:lpstr>camunda Template</vt:lpstr>
      <vt:lpstr>think-cell Slide</vt:lpstr>
      <vt:lpstr>PowerPoint-Präsentation</vt:lpstr>
    </vt:vector>
  </TitlesOfParts>
  <Company>camunda services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xiskurs jBPM4</dc:title>
  <dc:creator>Bernd Rücker, Jakob Freund, Falko Menge</dc:creator>
  <cp:lastModifiedBy>ruecker</cp:lastModifiedBy>
  <cp:revision>604</cp:revision>
  <cp:lastPrinted>2011-09-26T09:42:43Z</cp:lastPrinted>
  <dcterms:created xsi:type="dcterms:W3CDTF">2010-04-29T14:10:12Z</dcterms:created>
  <dcterms:modified xsi:type="dcterms:W3CDTF">2013-09-19T11:38:44Z</dcterms:modified>
</cp:coreProperties>
</file>